
<file path=[Content_Types].xml><?xml version="1.0" encoding="utf-8"?>
<Types xmlns="http://schemas.openxmlformats.org/package/2006/content-types">
  <Override PartName="/customXml/itemProps2.xml" ContentType="application/vnd.openxmlformats-officedocument.customXmlProperties+xml"/>
  <Override PartName="/customXml/itemProps3.xml" ContentType="application/vnd.openxmlformats-officedocument.customXmlProperties+xml"/>
  <Default Extension="bin" ContentType="application/vnd.openxmlformats-officedocument.oleObject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Default Extension="vml" ContentType="application/vnd.openxmlformats-officedocument.vmlDrawing"/>
  <Override PartName="/customXml/itemProps4.xml" ContentType="application/vnd.openxmlformats-officedocument.customXmlProperties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7"/>
  </p:notesMasterIdLst>
  <p:sldIdLst>
    <p:sldId id="258" r:id="rId6"/>
  </p:sldIdLst>
  <p:sldSz cx="9906000" cy="6858000" type="A4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7B57"/>
    <a:srgbClr val="C5E4BA"/>
    <a:srgbClr val="000000"/>
    <a:srgbClr val="4D4D4D"/>
    <a:srgbClr val="80808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9314" autoAdjust="0"/>
  </p:normalViewPr>
  <p:slideViewPr>
    <p:cSldViewPr snapToGrid="0" snapToObjects="1" showGuides="1">
      <p:cViewPr>
        <p:scale>
          <a:sx n="70" d="100"/>
          <a:sy n="70" d="100"/>
        </p:scale>
        <p:origin x="-1278" y="-666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-2250" y="-11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4/12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" y="677863"/>
            <a:ext cx="1619250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25350" y="5821402"/>
            <a:ext cx="4241800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6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026" name="think-cell Slide" r:id="rId3" imgW="360" imgH="360" progId="TCLayout.ActiveDocument.1">
              <p:embed/>
            </p:oleObj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ltGray">
          <a:xfrm>
            <a:off x="2044700" y="1738313"/>
            <a:ext cx="5816600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5" cstate="print"/>
          <a:stretch>
            <a:fillRect/>
          </a:stretch>
        </p:blipFill>
        <p:spPr bwMode="black">
          <a:xfrm>
            <a:off x="4284996" y="2957695"/>
            <a:ext cx="2801250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4080807" y="5078640"/>
            <a:ext cx="1744387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26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 you</a:t>
            </a:r>
            <a:endParaRPr lang="en-US" sz="2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979376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0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cg.com | bcgperspectives.com</a:t>
            </a:r>
            <a:endParaRPr lang="en-US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050" name="think-cell Slide" r:id="rId11" imgW="360" imgH="360" progId="TCLayout.ActiveDocument.1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/>
        </p:nvSpPr>
        <p:spPr>
          <a:xfrm>
            <a:off x="4572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700" noProof="0" smtClean="0">
                <a:solidFill>
                  <a:srgbClr val="808080"/>
                </a:solidFill>
              </a:rPr>
              <a:t>done different.pptx</a:t>
            </a:r>
            <a:endParaRPr lang="en-US" sz="700" noProof="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en-US" noProof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577200" y="6642000"/>
            <a:ext cx="1969200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 smtClean="0">
                <a:solidFill>
                  <a:srgbClr val="C00000"/>
                </a:solidFill>
                <a:latin typeface="Arial" pitchFamily="34" charset="0"/>
                <a:ea typeface="+mn-ea"/>
                <a:cs typeface="Arial" pitchFamily="34" charset="0"/>
              </a:rPr>
              <a:t>Draft—for discussion only</a:t>
            </a:r>
            <a:endParaRPr lang="en-US" sz="1200" b="1" noProof="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-5400000">
            <a:off x="7467600" y="4249738"/>
            <a:ext cx="4560888" cy="20161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b"/>
          <a:lstStyle/>
          <a:p>
            <a:r>
              <a:rPr lang="en-US" sz="700" smtClean="0">
                <a:solidFill>
                  <a:srgbClr val="808080"/>
                </a:solidFill>
              </a:rPr>
              <a:t>Copyright © 2015 by The Boston Consulting Group, Inc. All rights reserved.</a:t>
            </a:r>
            <a:endParaRPr lang="en-US" sz="700">
              <a:solidFill>
                <a:srgbClr val="80808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4" name="Picture 6"/>
          <p:cNvPicPr>
            <a:picLocks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20610" y="6665769"/>
            <a:ext cx="2065500" cy="1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4" r:id="rId4"/>
    <p:sldLayoutId id="2147483655" r:id="rId5"/>
    <p:sldLayoutId id="2147483660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.v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9218" name="think-cell Slide" r:id="rId3" imgW="270" imgH="270" progId="TCLayout.ActiveDocument.1">
              <p:embed/>
            </p:oleObj>
          </a:graphicData>
        </a:graphic>
      </p:graphicFrame>
      <p:sp>
        <p:nvSpPr>
          <p:cNvPr id="2" name="Rectangle 1"/>
          <p:cNvSpPr/>
          <p:nvPr/>
        </p:nvSpPr>
        <p:spPr>
          <a:xfrm>
            <a:off x="1471448" y="1629103"/>
            <a:ext cx="4361793" cy="436179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sk-SK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552332" y="3748964"/>
            <a:ext cx="200025" cy="288574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ounded Rectangle 2"/>
          <p:cNvSpPr/>
          <p:nvPr/>
        </p:nvSpPr>
        <p:spPr>
          <a:xfrm rot="18900000">
            <a:off x="2406869" y="2385850"/>
            <a:ext cx="2490951" cy="2490951"/>
          </a:xfrm>
          <a:prstGeom prst="roundRect">
            <a:avLst/>
          </a:prstGeom>
          <a:solidFill>
            <a:srgbClr val="FFC00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ounded Rectangle 3"/>
          <p:cNvSpPr>
            <a:spLocks noChangeAspect="1"/>
          </p:cNvSpPr>
          <p:nvPr/>
        </p:nvSpPr>
        <p:spPr>
          <a:xfrm rot="18900000">
            <a:off x="2556326" y="2545814"/>
            <a:ext cx="2192037" cy="2192037"/>
          </a:xfrm>
          <a:prstGeom prst="roundRect">
            <a:avLst/>
          </a:prstGeom>
          <a:solidFill>
            <a:srgbClr val="FFC000"/>
          </a:solidFill>
          <a:ln w="3810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Oval 20"/>
          <p:cNvSpPr>
            <a:spLocks noChangeAspect="1"/>
          </p:cNvSpPr>
          <p:nvPr/>
        </p:nvSpPr>
        <p:spPr>
          <a:xfrm>
            <a:off x="3636215" y="2393935"/>
            <a:ext cx="79879" cy="79879"/>
          </a:xfrm>
          <a:prstGeom prst="ellipse">
            <a:avLst/>
          </a:prstGeom>
          <a:solidFill>
            <a:schemeClr val="tx1">
              <a:lumMod val="95000"/>
              <a:lumOff val="5000"/>
              <a:alpha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Oval 5"/>
          <p:cNvSpPr>
            <a:spLocks noChangeAspect="1"/>
          </p:cNvSpPr>
          <p:nvPr/>
        </p:nvSpPr>
        <p:spPr>
          <a:xfrm>
            <a:off x="3612405" y="2370125"/>
            <a:ext cx="79879" cy="79879"/>
          </a:xfrm>
          <a:prstGeom prst="ellips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Oval 21"/>
          <p:cNvSpPr>
            <a:spLocks noChangeAspect="1"/>
          </p:cNvSpPr>
          <p:nvPr/>
        </p:nvSpPr>
        <p:spPr>
          <a:xfrm>
            <a:off x="3636215" y="4881103"/>
            <a:ext cx="79879" cy="79879"/>
          </a:xfrm>
          <a:prstGeom prst="ellipse">
            <a:avLst/>
          </a:prstGeom>
          <a:solidFill>
            <a:schemeClr val="tx1">
              <a:lumMod val="95000"/>
              <a:lumOff val="5000"/>
              <a:alpha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3612405" y="4857293"/>
            <a:ext cx="79879" cy="79879"/>
          </a:xfrm>
          <a:prstGeom prst="ellips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 rot="2700000">
            <a:off x="3750343" y="3529952"/>
            <a:ext cx="1326558" cy="329058"/>
          </a:xfrm>
          <a:prstGeom prst="rect">
            <a:avLst/>
          </a:prstGeom>
          <a:solidFill>
            <a:schemeClr val="tx1">
              <a:lumMod val="75000"/>
              <a:lumOff val="25000"/>
              <a:alpha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3657600" y="2845558"/>
            <a:ext cx="327546" cy="818866"/>
          </a:xfrm>
          <a:custGeom>
            <a:avLst/>
            <a:gdLst>
              <a:gd name="connsiteX0" fmla="*/ 34119 w 327546"/>
              <a:gd name="connsiteY0" fmla="*/ 0 h 818866"/>
              <a:gd name="connsiteX1" fmla="*/ 320722 w 327546"/>
              <a:gd name="connsiteY1" fmla="*/ 218364 h 818866"/>
              <a:gd name="connsiteX2" fmla="*/ 327546 w 327546"/>
              <a:gd name="connsiteY2" fmla="*/ 580030 h 818866"/>
              <a:gd name="connsiteX3" fmla="*/ 156949 w 327546"/>
              <a:gd name="connsiteY3" fmla="*/ 818866 h 818866"/>
              <a:gd name="connsiteX4" fmla="*/ 0 w 327546"/>
              <a:gd name="connsiteY4" fmla="*/ 573206 h 818866"/>
              <a:gd name="connsiteX5" fmla="*/ 34119 w 327546"/>
              <a:gd name="connsiteY5" fmla="*/ 0 h 818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7546" h="818866">
                <a:moveTo>
                  <a:pt x="34119" y="0"/>
                </a:moveTo>
                <a:lnTo>
                  <a:pt x="320722" y="218364"/>
                </a:lnTo>
                <a:lnTo>
                  <a:pt x="327546" y="580030"/>
                </a:lnTo>
                <a:lnTo>
                  <a:pt x="156949" y="818866"/>
                </a:lnTo>
                <a:lnTo>
                  <a:pt x="0" y="573206"/>
                </a:lnTo>
                <a:lnTo>
                  <a:pt x="34119" y="0"/>
                </a:lnTo>
                <a:close/>
              </a:path>
            </a:pathLst>
          </a:custGeom>
          <a:solidFill>
            <a:srgbClr val="FFC00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 rot="2700000">
            <a:off x="2691223" y="3418423"/>
            <a:ext cx="2013115" cy="1004789"/>
          </a:xfrm>
          <a:prstGeom prst="rect">
            <a:avLst/>
          </a:prstGeom>
          <a:solidFill>
            <a:schemeClr val="tx1">
              <a:lumMod val="75000"/>
              <a:lumOff val="25000"/>
              <a:alpha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2469356" y="2943225"/>
            <a:ext cx="921544" cy="1538288"/>
          </a:xfrm>
          <a:custGeom>
            <a:avLst/>
            <a:gdLst>
              <a:gd name="connsiteX0" fmla="*/ 681038 w 921544"/>
              <a:gd name="connsiteY0" fmla="*/ 1538288 h 1538288"/>
              <a:gd name="connsiteX1" fmla="*/ 921544 w 921544"/>
              <a:gd name="connsiteY1" fmla="*/ 1314450 h 1538288"/>
              <a:gd name="connsiteX2" fmla="*/ 823913 w 921544"/>
              <a:gd name="connsiteY2" fmla="*/ 569119 h 1538288"/>
              <a:gd name="connsiteX3" fmla="*/ 847725 w 921544"/>
              <a:gd name="connsiteY3" fmla="*/ 57150 h 1538288"/>
              <a:gd name="connsiteX4" fmla="*/ 683419 w 921544"/>
              <a:gd name="connsiteY4" fmla="*/ 0 h 1538288"/>
              <a:gd name="connsiteX5" fmla="*/ 238125 w 921544"/>
              <a:gd name="connsiteY5" fmla="*/ 350044 h 1538288"/>
              <a:gd name="connsiteX6" fmla="*/ 0 w 921544"/>
              <a:gd name="connsiteY6" fmla="*/ 681038 h 1538288"/>
              <a:gd name="connsiteX7" fmla="*/ 681038 w 921544"/>
              <a:gd name="connsiteY7" fmla="*/ 1538288 h 153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1544" h="1538288">
                <a:moveTo>
                  <a:pt x="681038" y="1538288"/>
                </a:moveTo>
                <a:lnTo>
                  <a:pt x="921544" y="1314450"/>
                </a:lnTo>
                <a:lnTo>
                  <a:pt x="823913" y="569119"/>
                </a:lnTo>
                <a:lnTo>
                  <a:pt x="847725" y="57150"/>
                </a:lnTo>
                <a:lnTo>
                  <a:pt x="683419" y="0"/>
                </a:lnTo>
                <a:lnTo>
                  <a:pt x="238125" y="350044"/>
                </a:lnTo>
                <a:lnTo>
                  <a:pt x="0" y="681038"/>
                </a:lnTo>
                <a:lnTo>
                  <a:pt x="681038" y="1538288"/>
                </a:lnTo>
                <a:close/>
              </a:path>
            </a:pathLst>
          </a:custGeom>
          <a:solidFill>
            <a:srgbClr val="FFC00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3" name="Group 12"/>
          <p:cNvGrpSpPr>
            <a:grpSpLocks/>
          </p:cNvGrpSpPr>
          <p:nvPr/>
        </p:nvGrpSpPr>
        <p:grpSpPr>
          <a:xfrm>
            <a:off x="3139660" y="2853829"/>
            <a:ext cx="922453" cy="1567426"/>
            <a:chOff x="6700875" y="2450005"/>
            <a:chExt cx="1004849" cy="1741585"/>
          </a:xfrm>
        </p:grpSpPr>
        <p:sp>
          <p:nvSpPr>
            <p:cNvPr id="10" name="Down Arrow 9"/>
            <p:cNvSpPr/>
            <p:nvPr/>
          </p:nvSpPr>
          <p:spPr>
            <a:xfrm rot="10800000">
              <a:off x="6700875" y="2450005"/>
              <a:ext cx="443259" cy="1298960"/>
            </a:xfrm>
            <a:prstGeom prst="downArrow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 rot="10800000">
              <a:off x="7483057" y="2733674"/>
              <a:ext cx="221600" cy="101528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Block Arc 11"/>
            <p:cNvSpPr/>
            <p:nvPr/>
          </p:nvSpPr>
          <p:spPr>
            <a:xfrm rot="10800000">
              <a:off x="6810374" y="3285171"/>
              <a:ext cx="895350" cy="906419"/>
            </a:xfrm>
            <a:prstGeom prst="blockArc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D2D2F14E-91D0-46BE-AF0B-03FA64177EC7}">
  <ds:schemaRefs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4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A4 Paper (210x297 mm)</PresentationFormat>
  <Paragraphs>1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blank</vt:lpstr>
      <vt:lpstr>think-cell Slide</vt:lpstr>
      <vt:lpstr>Slide 0</vt:lpstr>
    </vt:vector>
  </TitlesOfParts>
  <Company>The Boston Consulting Grou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Kuba Jakub</dc:creator>
  <cp:lastModifiedBy>Kuba Jakub</cp:lastModifiedBy>
  <cp:revision>8</cp:revision>
  <dcterms:created xsi:type="dcterms:W3CDTF">2015-04-12T08:53:42Z</dcterms:created>
  <dcterms:modified xsi:type="dcterms:W3CDTF">2015-04-12T09:1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</Properties>
</file>